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498161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36064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cm.co.uk/planner" TargetMode="External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>
            <a:extLst>
              <a:ext uri="{FF2B5EF4-FFF2-40B4-BE49-F238E27FC236}">
                <a16:creationId xmlns:a16="http://schemas.microsoft.com/office/drawing/2014/main" id="{5569A7C7-D61B-4CE6-907A-1E145E78308B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194" b="24750"/>
          <a:stretch/>
        </p:blipFill>
        <p:spPr>
          <a:xfrm>
            <a:off x="6934200" y="1371600"/>
            <a:ext cx="6121400" cy="5092700"/>
          </a:xfrm>
        </p:spPr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24 June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Daisy Edgar-Jones, Harris Dickinson, David </a:t>
            </a:r>
            <a:r>
              <a:rPr lang="en-US" dirty="0" err="1">
                <a:solidFill>
                  <a:schemeClr val="accent6"/>
                </a:solidFill>
              </a:rPr>
              <a:t>Strathairn</a:t>
            </a: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Olivia Newman (</a:t>
            </a:r>
            <a:r>
              <a:rPr lang="en-US" i="1" dirty="0">
                <a:solidFill>
                  <a:schemeClr val="accent6"/>
                </a:solidFill>
              </a:rPr>
              <a:t>First Match</a:t>
            </a:r>
            <a:r>
              <a:rPr lang="en-US" dirty="0">
                <a:solidFill>
                  <a:schemeClr val="accent6"/>
                </a:solidFill>
              </a:rPr>
              <a:t>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The Girl on the Train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This adaptation of a best-selling book is brought to you by an up-and-coming director and a strong roster of new acting talent.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ABC1 Women Index: 185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526k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b="0" dirty="0"/>
              <a:t>Adaptation of the best-selling novel, in which a woman who raised herself in the marshes of the deep south becomes a suspect in the murder of a past lover.</a:t>
            </a:r>
            <a:endParaRPr lang="en-US" dirty="0"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70000" y="270000"/>
            <a:ext cx="12413343" cy="297159"/>
          </a:xfrm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Where The Crawdads Sing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US" sz="1400" dirty="0">
                <a:solidFill>
                  <a:schemeClr val="accent6"/>
                </a:solidFill>
              </a:rPr>
              <a:t>A</a:t>
            </a:r>
            <a:endParaRPr lang="en-GB" sz="1400" dirty="0">
              <a:solidFill>
                <a:schemeClr val="accent6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"/>
              </a:rPr>
              <a:t>Plan your campaig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90685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08</Words>
  <Application>Microsoft Office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Where The Crawdads Sing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2 2022</dc:title>
  <dc:creator/>
  <dc:description>Where The Crawdads Sing</dc:description>
  <cp:lastModifiedBy/>
  <cp:revision>1</cp:revision>
  <dcterms:created xsi:type="dcterms:W3CDTF">2019-03-25T11:13:20Z</dcterms:created>
  <dcterms:modified xsi:type="dcterms:W3CDTF">2022-01-19T16:57:27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2 2022</vt:lpwstr>
  </property>
  <property fmtid="{D5CDD505-2E9C-101B-9397-08002B2CF9AE}" pid="4" name="SlideDescription">
    <vt:lpwstr>Where The Crawdads Sing</vt:lpwstr>
  </property>
</Properties>
</file>